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4"/>
  </p:notesMasterIdLst>
  <p:sldIdLst>
    <p:sldId id="266" r:id="rId2"/>
    <p:sldId id="257" r:id="rId3"/>
    <p:sldId id="258" r:id="rId4"/>
    <p:sldId id="294" r:id="rId5"/>
    <p:sldId id="295" r:id="rId6"/>
    <p:sldId id="290" r:id="rId7"/>
    <p:sldId id="296" r:id="rId8"/>
    <p:sldId id="291" r:id="rId9"/>
    <p:sldId id="292" r:id="rId10"/>
    <p:sldId id="297" r:id="rId11"/>
    <p:sldId id="289" r:id="rId12"/>
    <p:sldId id="293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  <p:cmAuthor id="2" name="fjzbvpsspf@goetheuniversitaet.onmicrosoft.com" initials="f" lastIdx="1" clrIdx="1">
    <p:extLst>
      <p:ext uri="{19B8F6BF-5375-455C-9EA6-DF929625EA0E}">
        <p15:presenceInfo xmlns:p15="http://schemas.microsoft.com/office/powerpoint/2012/main" userId="fjzbvpsspf@goetheuniversitaet.onmicrosof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5" autoAdjust="0"/>
    <p:restoredTop sz="96713" autoAdjust="0"/>
  </p:normalViewPr>
  <p:slideViewPr>
    <p:cSldViewPr snapToGrid="0">
      <p:cViewPr varScale="1">
        <p:scale>
          <a:sx n="62" d="100"/>
          <a:sy n="62" d="100"/>
        </p:scale>
        <p:origin x="38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11-01T19:44:31.832" idx="1">
    <p:pos x="10" y="10"/>
    <p:text>Something else to add here?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why-you-should-not-rely-on-t-sne-umap-or-trimap-f8f5dc333e59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Team DC8: Task 1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D74BFD10-EEBE-4391-8F85-C6161247F5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, 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</p:spTree>
    <p:extLst>
      <p:ext uri="{BB962C8B-B14F-4D97-AF65-F5344CB8AC3E}">
        <p14:creationId xmlns:p14="http://schemas.microsoft.com/office/powerpoint/2010/main" val="1201121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Examplatory</a:t>
            </a:r>
            <a:r>
              <a:rPr lang="de-DE" sz="2400" noProof="0" dirty="0"/>
              <a:t> </a:t>
            </a:r>
            <a:r>
              <a:rPr lang="de-DE" sz="2400" noProof="0" dirty="0" err="1"/>
              <a:t>screenshot</a:t>
            </a:r>
            <a:r>
              <a:rPr lang="de-DE" sz="2400" noProof="0" dirty="0"/>
              <a:t> </a:t>
            </a:r>
            <a:r>
              <a:rPr lang="de-DE" sz="2400" noProof="0" dirty="0" err="1"/>
              <a:t>of</a:t>
            </a:r>
            <a:r>
              <a:rPr lang="de-DE" sz="2400" noProof="0" dirty="0"/>
              <a:t> final </a:t>
            </a:r>
            <a:r>
              <a:rPr lang="de-DE" sz="2400" noProof="0" dirty="0" err="1"/>
              <a:t>result</a:t>
            </a:r>
            <a:r>
              <a:rPr lang="de-DE" sz="2400" noProof="0" dirty="0"/>
              <a:t>: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843468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E37E-6F99-460C-8E27-16F021F52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Outloo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BB7297-82EE-41CA-AC8B-70FBBA5D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ADA1716-4D10-41DC-9E5D-26FAB3E41D11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utloo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8D6FEE-5A62-4CCD-A03C-1AC7B232F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266689"/>
          </a:xfrm>
        </p:spPr>
        <p:txBody>
          <a:bodyPr/>
          <a:lstStyle/>
          <a:p>
            <a:r>
              <a:rPr lang="en-US" dirty="0"/>
              <a:t>This dataset can now be </a:t>
            </a:r>
            <a:r>
              <a:rPr lang="en-US" dirty="0" err="1"/>
              <a:t>analysed</a:t>
            </a:r>
            <a:r>
              <a:rPr lang="en-US" dirty="0"/>
              <a:t> with different machine learning tools in python</a:t>
            </a:r>
          </a:p>
          <a:p>
            <a:endParaRPr lang="en-US" dirty="0"/>
          </a:p>
          <a:p>
            <a:r>
              <a:rPr lang="en-US" dirty="0"/>
              <a:t>Dimensionality reduction will be a helpful step to visualize the data</a:t>
            </a:r>
          </a:p>
          <a:p>
            <a:endParaRPr lang="en-US" dirty="0"/>
          </a:p>
          <a:p>
            <a:r>
              <a:rPr lang="en-US" dirty="0"/>
              <a:t>The final presentation of results will be enabled within a </a:t>
            </a:r>
            <a:r>
              <a:rPr lang="en-US" dirty="0" err="1"/>
              <a:t>streamlit</a:t>
            </a:r>
            <a:r>
              <a:rPr lang="en-US" dirty="0"/>
              <a:t> web app</a:t>
            </a:r>
          </a:p>
        </p:txBody>
      </p:sp>
    </p:spTree>
    <p:extLst>
      <p:ext uri="{BB962C8B-B14F-4D97-AF65-F5344CB8AC3E}">
        <p14:creationId xmlns:p14="http://schemas.microsoft.com/office/powerpoint/2010/main" val="958421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Group A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, 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71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de-DE" sz="2800" noProof="0" dirty="0"/>
              <a:t>Access </a:t>
            </a:r>
            <a:r>
              <a:rPr lang="de-DE" sz="2800" noProof="0" dirty="0" err="1"/>
              <a:t>to</a:t>
            </a:r>
            <a:r>
              <a:rPr lang="de-DE" sz="2800" noProof="0" dirty="0"/>
              <a:t> </a:t>
            </a:r>
            <a:r>
              <a:rPr lang="de-DE" sz="2800" noProof="0" dirty="0" err="1"/>
              <a:t>the</a:t>
            </a:r>
            <a:r>
              <a:rPr lang="de-DE" sz="2800" noProof="0" dirty="0"/>
              <a:t> </a:t>
            </a:r>
            <a:r>
              <a:rPr lang="de-DE" sz="2800" noProof="0" dirty="0" err="1"/>
              <a:t>data</a:t>
            </a:r>
            <a:r>
              <a:rPr lang="de-DE" sz="2800" noProof="0" dirty="0"/>
              <a:t> </a:t>
            </a:r>
            <a:r>
              <a:rPr lang="de-DE" sz="2800" noProof="0" dirty="0" err="1"/>
              <a:t>set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dirty="0"/>
              <a:t>Manual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exploration</a:t>
            </a:r>
            <a:endParaRPr lang="de-DE" sz="2800" dirty="0"/>
          </a:p>
          <a:p>
            <a:pPr marL="514350" indent="-514350">
              <a:buAutoNum type="arabicPeriod"/>
            </a:pPr>
            <a:endParaRPr lang="de-DE" sz="2800" dirty="0"/>
          </a:p>
          <a:p>
            <a:pPr marL="514350" indent="-514350">
              <a:buAutoNum type="arabicPeriod"/>
            </a:pPr>
            <a:r>
              <a:rPr lang="de-DE" sz="2800" noProof="0" dirty="0" err="1"/>
              <a:t>Dimensionality</a:t>
            </a:r>
            <a:r>
              <a:rPr lang="de-DE" sz="2800" noProof="0" dirty="0"/>
              <a:t> </a:t>
            </a:r>
            <a:r>
              <a:rPr lang="de-DE" sz="2800" noProof="0" dirty="0" err="1"/>
              <a:t>reduction</a:t>
            </a:r>
            <a:r>
              <a:rPr lang="de-DE" sz="2800" noProof="0" dirty="0"/>
              <a:t> </a:t>
            </a:r>
            <a:r>
              <a:rPr lang="de-DE" sz="2800" noProof="0" dirty="0" err="1"/>
              <a:t>techniques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noProof="0" dirty="0"/>
              <a:t>Web </a:t>
            </a:r>
            <a:r>
              <a:rPr lang="de-DE" sz="2800" noProof="0" dirty="0" err="1"/>
              <a:t>app</a:t>
            </a:r>
            <a:r>
              <a:rPr lang="de-DE" sz="2800" noProof="0" dirty="0"/>
              <a:t> </a:t>
            </a:r>
            <a:r>
              <a:rPr lang="de-DE" sz="2800" noProof="0" dirty="0" err="1"/>
              <a:t>development</a:t>
            </a:r>
            <a:r>
              <a:rPr lang="de-DE" sz="2800" noProof="0" dirty="0"/>
              <a:t> </a:t>
            </a:r>
            <a:r>
              <a:rPr lang="de-DE" sz="2800" noProof="0" dirty="0" err="1"/>
              <a:t>framework</a:t>
            </a:r>
            <a:endParaRPr lang="de-DE" sz="28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1. Access </a:t>
            </a:r>
            <a:r>
              <a:rPr lang="de-DE" sz="4000" noProof="0" dirty="0" err="1"/>
              <a:t>to</a:t>
            </a:r>
            <a:r>
              <a:rPr lang="de-DE" sz="4000" noProof="0" dirty="0"/>
              <a:t> </a:t>
            </a:r>
            <a:r>
              <a:rPr lang="de-DE" sz="4000" noProof="0" dirty="0" err="1"/>
              <a:t>the</a:t>
            </a:r>
            <a:r>
              <a:rPr lang="de-DE" sz="4000" noProof="0" dirty="0"/>
              <a:t> </a:t>
            </a:r>
            <a:r>
              <a:rPr lang="de-DE" sz="4000" noProof="0" dirty="0" err="1"/>
              <a:t>data</a:t>
            </a:r>
            <a:r>
              <a:rPr lang="de-DE" sz="4000" noProof="0" dirty="0"/>
              <a:t> </a:t>
            </a:r>
            <a:r>
              <a:rPr lang="de-DE" sz="4000" noProof="0" dirty="0" err="1"/>
              <a:t>set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decided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use</a:t>
            </a:r>
            <a:r>
              <a:rPr lang="de-DE" sz="2400" noProof="0" dirty="0"/>
              <a:t> </a:t>
            </a:r>
            <a:r>
              <a:rPr lang="de-DE" sz="2400" noProof="0" dirty="0" err="1"/>
              <a:t>panda-dataframes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sz="2400" noProof="0" dirty="0" err="1"/>
              <a:t>object</a:t>
            </a:r>
            <a:r>
              <a:rPr lang="de-DE" sz="2400" noProof="0" dirty="0"/>
              <a:t> </a:t>
            </a:r>
            <a:r>
              <a:rPr lang="de-DE" sz="2400" noProof="0" dirty="0" err="1"/>
              <a:t>oriented</a:t>
            </a:r>
            <a:r>
              <a:rPr lang="de-DE" sz="2400" noProof="0" dirty="0"/>
              <a:t> </a:t>
            </a:r>
            <a:r>
              <a:rPr lang="de-DE" sz="2400" noProof="0" dirty="0" err="1"/>
              <a:t>c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Access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he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695854E-AC4B-422B-B891-3B65F4403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7315" y="1927495"/>
            <a:ext cx="5837369" cy="416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/>
              <a:t>Analysis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Paper[1] was </a:t>
            </a:r>
            <a:r>
              <a:rPr lang="de-DE" dirty="0" err="1"/>
              <a:t>verified</a:t>
            </a:r>
            <a:endParaRPr lang="de-DE" dirty="0"/>
          </a:p>
          <a:p>
            <a:pPr marL="0" indent="0">
              <a:buNone/>
            </a:pP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09F4F1-ABB8-4E9F-AD37-AEA995D265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11651"/>
            <a:ext cx="9023538" cy="33167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27E2A6E-2570-4C53-A4B9-711F9329FCFF}"/>
              </a:ext>
            </a:extLst>
          </p:cNvPr>
          <p:cNvSpPr txBox="1"/>
          <p:nvPr/>
        </p:nvSpPr>
        <p:spPr>
          <a:xfrm>
            <a:off x="838200" y="5987018"/>
            <a:ext cx="6093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1307923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838200" y="1566828"/>
            <a:ext cx="6115050" cy="4370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 [Heart Rat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4712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8574', 28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84.9852644487302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6118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2Sat [O2 Saturation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401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0001', 10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7.2656877215393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507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538D4C-8124-4BFD-B852-82C65565DA30}"/>
              </a:ext>
            </a:extLst>
          </p:cNvPr>
          <p:cNvSpPr txBox="1"/>
          <p:nvPr/>
        </p:nvSpPr>
        <p:spPr>
          <a:xfrm>
            <a:off x="6178550" y="1566828"/>
            <a:ext cx="6096000" cy="5069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 [Temperatur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2421', 20.9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5104', 42.22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37.0267369923657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523314 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BP [Systolic BP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968', 22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5749', 281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.9623594581605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201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92701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b) Subgrou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age</a:t>
            </a:r>
            <a:r>
              <a:rPr lang="de-DE" dirty="0"/>
              <a:t>:</a:t>
            </a:r>
          </a:p>
          <a:p>
            <a:endParaRPr lang="de-DE" sz="2400" noProof="0" dirty="0"/>
          </a:p>
          <a:p>
            <a:endParaRPr lang="de-DE" dirty="0"/>
          </a:p>
          <a:p>
            <a:r>
              <a:rPr lang="de-DE" sz="2400" noProof="0" dirty="0" err="1"/>
              <a:t>Based</a:t>
            </a:r>
            <a:r>
              <a:rPr lang="de-DE" sz="2400" noProof="0" dirty="0"/>
              <a:t> on Gender:</a:t>
            </a:r>
          </a:p>
          <a:p>
            <a:endParaRPr lang="de-DE" dirty="0"/>
          </a:p>
          <a:p>
            <a:endParaRPr lang="de-DE" sz="2400" noProof="0" dirty="0"/>
          </a:p>
          <a:p>
            <a:r>
              <a:rPr lang="de-DE" dirty="0" err="1"/>
              <a:t>Etc</a:t>
            </a:r>
            <a:r>
              <a:rPr lang="de-DE" dirty="0"/>
              <a:t>: Nan</a:t>
            </a: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c) </a:t>
            </a:r>
            <a:r>
              <a:rPr lang="de-DE" sz="4000" noProof="0" dirty="0" err="1"/>
              <a:t>Timeseries</a:t>
            </a:r>
            <a:r>
              <a:rPr lang="de-DE" sz="4000" noProof="0" dirty="0"/>
              <a:t>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imeseri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lete</a:t>
            </a:r>
            <a:r>
              <a:rPr lang="de-DE" dirty="0"/>
              <a:t>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3038475" y="1896043"/>
            <a:ext cx="6115050" cy="1971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4248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3. </a:t>
            </a:r>
            <a:r>
              <a:rPr lang="de-DE" sz="4000" noProof="0" dirty="0" err="1"/>
              <a:t>Dimensionality</a:t>
            </a:r>
            <a:r>
              <a:rPr lang="de-DE" sz="4000" noProof="0" dirty="0"/>
              <a:t> </a:t>
            </a:r>
            <a:r>
              <a:rPr lang="de-DE" sz="4000" noProof="0" dirty="0" err="1"/>
              <a:t>reduction</a:t>
            </a:r>
            <a:r>
              <a:rPr lang="de-DE" sz="4000" noProof="0" dirty="0"/>
              <a:t> </a:t>
            </a:r>
            <a:r>
              <a:rPr lang="de-DE" sz="4000" noProof="0" dirty="0" err="1"/>
              <a:t>techniqu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Following</a:t>
            </a:r>
            <a:r>
              <a:rPr lang="de-DE" sz="2400" noProof="0" dirty="0"/>
              <a:t> </a:t>
            </a:r>
            <a:r>
              <a:rPr lang="de-DE" sz="2400" noProof="0" dirty="0" err="1"/>
              <a:t>the</a:t>
            </a:r>
            <a:r>
              <a:rPr lang="de-DE" sz="2400" noProof="0" dirty="0"/>
              <a:t> </a:t>
            </a:r>
            <a:r>
              <a:rPr lang="de-DE" sz="2400" noProof="0" dirty="0" err="1"/>
              <a:t>blogposts</a:t>
            </a:r>
            <a:r>
              <a:rPr lang="de-DE" dirty="0"/>
              <a:t>[2] </a:t>
            </a:r>
            <a:r>
              <a:rPr lang="de-DE" dirty="0" err="1"/>
              <a:t>conclusion</a:t>
            </a:r>
            <a:r>
              <a:rPr lang="de-DE" dirty="0"/>
              <a:t>: </a:t>
            </a:r>
          </a:p>
          <a:p>
            <a:pPr lvl="1"/>
            <a:r>
              <a:rPr lang="de-DE" dirty="0" err="1"/>
              <a:t>PaCMA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suit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dimensionality</a:t>
            </a:r>
            <a:r>
              <a:rPr lang="de-DE" dirty="0"/>
              <a:t> </a:t>
            </a:r>
            <a:r>
              <a:rPr lang="de-DE" dirty="0" err="1"/>
              <a:t>reduc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795B717-9243-4D6F-806B-919363BAA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12" y="3038475"/>
            <a:ext cx="8334375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1FFCAEB-485C-4DBD-B643-0B16DA2F0856}"/>
              </a:ext>
            </a:extLst>
          </p:cNvPr>
          <p:cNvSpPr txBox="1"/>
          <p:nvPr/>
        </p:nvSpPr>
        <p:spPr>
          <a:xfrm>
            <a:off x="838200" y="6061858"/>
            <a:ext cx="10572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noProof="0" dirty="0"/>
              <a:t> [3] </a:t>
            </a:r>
            <a:r>
              <a:rPr lang="de-DE" sz="1600" noProof="0" dirty="0">
                <a:hlinkClick r:id="rId3"/>
              </a:rPr>
              <a:t>https://towardsdatascience.com/why-you-should-not-rely-on-t-sne-umap-or-trimap-f8f5dc333e59</a:t>
            </a:r>
            <a:r>
              <a:rPr lang="de-DE" sz="1600" noProof="0" dirty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043876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chose</a:t>
            </a:r>
            <a:r>
              <a:rPr lang="de-DE" sz="2400" noProof="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  <a:endParaRPr lang="de-DE" dirty="0"/>
          </a:p>
          <a:p>
            <a:pPr lvl="1"/>
            <a:r>
              <a:rPr lang="de-DE" noProof="0" dirty="0" err="1"/>
              <a:t>Flask</a:t>
            </a:r>
            <a:r>
              <a:rPr lang="de-DE" noProof="0" dirty="0"/>
              <a:t>: </a:t>
            </a:r>
            <a:r>
              <a:rPr lang="de-DE" noProof="0" dirty="0" err="1"/>
              <a:t>Too</a:t>
            </a:r>
            <a:r>
              <a:rPr lang="de-DE" noProof="0" dirty="0"/>
              <a:t> </a:t>
            </a:r>
            <a:r>
              <a:rPr lang="de-DE" noProof="0" dirty="0" err="1"/>
              <a:t>unspecific</a:t>
            </a:r>
            <a:endParaRPr lang="de-DE" noProof="0" dirty="0"/>
          </a:p>
          <a:p>
            <a:pPr lvl="1"/>
            <a:endParaRPr lang="de-DE" dirty="0"/>
          </a:p>
          <a:p>
            <a:pPr lvl="1"/>
            <a:r>
              <a:rPr lang="de-DE" noProof="0" dirty="0" err="1"/>
              <a:t>Plotly</a:t>
            </a:r>
            <a:r>
              <a:rPr lang="de-DE" noProof="0" dirty="0"/>
              <a:t> </a:t>
            </a:r>
            <a:r>
              <a:rPr lang="de-DE" noProof="0" dirty="0" err="1"/>
              <a:t>combined</a:t>
            </a:r>
            <a:r>
              <a:rPr lang="de-DE" noProof="0" dirty="0"/>
              <a:t> in a </a:t>
            </a:r>
            <a:br>
              <a:rPr lang="de-DE" noProof="0" dirty="0"/>
            </a:br>
            <a:r>
              <a:rPr lang="de-DE" noProof="0" dirty="0" err="1"/>
              <a:t>Webframe</a:t>
            </a:r>
            <a:r>
              <a:rPr lang="de-DE" noProof="0" dirty="0"/>
              <a:t> (JavaScript): Not </a:t>
            </a:r>
            <a:r>
              <a:rPr lang="de-DE" noProof="0" dirty="0" err="1"/>
              <a:t>efficient</a:t>
            </a:r>
            <a:endParaRPr lang="de-DE" noProof="0" dirty="0"/>
          </a:p>
          <a:p>
            <a:pPr marL="457200" lvl="1" indent="0">
              <a:buNone/>
            </a:pPr>
            <a:endParaRPr lang="de-DE" dirty="0"/>
          </a:p>
          <a:p>
            <a:pPr lvl="1"/>
            <a:r>
              <a:rPr lang="de-DE" dirty="0" err="1"/>
              <a:t>Streamlit</a:t>
            </a:r>
            <a:r>
              <a:rPr lang="de-DE" dirty="0"/>
              <a:t>: </a:t>
            </a:r>
            <a:r>
              <a:rPr lang="de-DE" dirty="0" err="1"/>
              <a:t>Perfect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specifi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and </a:t>
            </a:r>
            <a:br>
              <a:rPr lang="de-DE" dirty="0"/>
            </a:br>
            <a:r>
              <a:rPr lang="de-DE" dirty="0" err="1"/>
              <a:t>visualiza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429"/>
          <a:stretch/>
        </p:blipFill>
        <p:spPr>
          <a:xfrm>
            <a:off x="5844161" y="3282561"/>
            <a:ext cx="5774178" cy="29014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27FE70-63EA-4891-B319-9603CAEF16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9673" y="2324390"/>
            <a:ext cx="1563154" cy="91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3</Words>
  <Application>Microsoft Office PowerPoint</Application>
  <PresentationFormat>Breitbild</PresentationFormat>
  <Paragraphs>98</Paragraphs>
  <Slides>1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Cambria</vt:lpstr>
      <vt:lpstr>Frutiger Next LT W1G</vt:lpstr>
      <vt:lpstr>Wingdings</vt:lpstr>
      <vt:lpstr>Office</vt:lpstr>
      <vt:lpstr>Data Challenges –  Team DC8: Task 1</vt:lpstr>
      <vt:lpstr>Overview</vt:lpstr>
      <vt:lpstr>1. Access to the data set</vt:lpstr>
      <vt:lpstr>2a) Statistical Properties</vt:lpstr>
      <vt:lpstr>2a) Statistical Properties</vt:lpstr>
      <vt:lpstr>2b) Subgroups</vt:lpstr>
      <vt:lpstr>2c) Timeseries Data</vt:lpstr>
      <vt:lpstr>3. Dimensionality reduction techniques</vt:lpstr>
      <vt:lpstr>4. Web app development framework</vt:lpstr>
      <vt:lpstr>4. Web app development framework</vt:lpstr>
      <vt:lpstr>Outlook</vt:lpstr>
      <vt:lpstr>Data Challenges –  Group A: Task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67</cp:revision>
  <dcterms:created xsi:type="dcterms:W3CDTF">2021-06-28T09:55:05Z</dcterms:created>
  <dcterms:modified xsi:type="dcterms:W3CDTF">2021-11-01T18:49:45Z</dcterms:modified>
</cp:coreProperties>
</file>